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408" r:id="rId2"/>
    <p:sldId id="399" r:id="rId3"/>
    <p:sldId id="411" r:id="rId4"/>
    <p:sldId id="400" r:id="rId5"/>
    <p:sldId id="410" r:id="rId6"/>
    <p:sldId id="409" r:id="rId7"/>
    <p:sldId id="401" r:id="rId8"/>
    <p:sldId id="407" r:id="rId9"/>
    <p:sldId id="412" r:id="rId10"/>
    <p:sldId id="402" r:id="rId11"/>
    <p:sldId id="403" r:id="rId12"/>
    <p:sldId id="404" r:id="rId13"/>
    <p:sldId id="405" r:id="rId14"/>
    <p:sldId id="406" r:id="rId15"/>
  </p:sldIdLst>
  <p:sldSz cx="9144000" cy="5143500" type="screen16x9"/>
  <p:notesSz cx="9925050" cy="6665913"/>
  <p:custDataLst>
    <p:tags r:id="rId1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008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599" userDrawn="1">
          <p15:clr>
            <a:srgbClr val="A4A3A4"/>
          </p15:clr>
        </p15:guide>
        <p15:guide id="4" orient="horz" pos="1280" userDrawn="1">
          <p15:clr>
            <a:srgbClr val="A4A3A4"/>
          </p15:clr>
        </p15:guide>
        <p15:guide id="5" orient="horz" pos="2867" userDrawn="1">
          <p15:clr>
            <a:srgbClr val="A4A3A4"/>
          </p15:clr>
        </p15:guide>
        <p15:guide id="6" orient="horz" pos="2958" userDrawn="1">
          <p15:clr>
            <a:srgbClr val="A4A3A4"/>
          </p15:clr>
        </p15:guide>
        <p15:guide id="7" pos="5556" userDrawn="1">
          <p15:clr>
            <a:srgbClr val="A4A3A4"/>
          </p15:clr>
        </p15:guide>
        <p15:guide id="8" pos="2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293"/>
    <a:srgbClr val="999999"/>
    <a:srgbClr val="98C6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250" autoAdjust="0"/>
    <p:restoredTop sz="88283" autoAdjust="0"/>
  </p:normalViewPr>
  <p:slideViewPr>
    <p:cSldViewPr snapToGrid="0">
      <p:cViewPr varScale="1">
        <p:scale>
          <a:sx n="96" d="100"/>
          <a:sy n="96" d="100"/>
        </p:scale>
        <p:origin x="690" y="72"/>
      </p:cViewPr>
      <p:guideLst>
        <p:guide orient="horz" pos="1008"/>
        <p:guide pos="2880"/>
        <p:guide orient="horz" pos="599"/>
        <p:guide orient="horz" pos="1280"/>
        <p:guide orient="horz" pos="2867"/>
        <p:guide orient="horz" pos="2958"/>
        <p:guide pos="5556"/>
        <p:guide pos="2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2" d="100"/>
          <a:sy n="122" d="100"/>
        </p:scale>
        <p:origin x="1422" y="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4/01/2018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4/01/2018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 1" preserve="1" userDrawn="1">
  <p:cSld name="Start_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4"/>
          <p:cNvPicPr>
            <a:picLocks noChangeAspect="1"/>
          </p:cNvPicPr>
          <p:nvPr userDrawn="1"/>
        </p:nvPicPr>
        <p:blipFill>
          <a:blip r:embed="rId2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62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0" hasCustomPrompt="1"/>
          </p:nvPr>
        </p:nvSpPr>
        <p:spPr>
          <a:xfrm>
            <a:off x="323850" y="1600200"/>
            <a:ext cx="849629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pic>
        <p:nvPicPr>
          <p:cNvPr id="13" name="Bild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6" name="Textfeld 10"/>
          <p:cNvSpPr txBox="1"/>
          <p:nvPr userDrawn="1"/>
        </p:nvSpPr>
        <p:spPr>
          <a:xfrm>
            <a:off x="323850" y="321468"/>
            <a:ext cx="7160425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 err="1">
                <a:solidFill>
                  <a:schemeClr val="bg1"/>
                </a:solidFill>
                <a:latin typeface="+mn-lt"/>
              </a:rPr>
              <a:t>Advanced</a:t>
            </a:r>
            <a:r>
              <a:rPr lang="de-DE" sz="800" dirty="0">
                <a:solidFill>
                  <a:schemeClr val="bg1"/>
                </a:solidFill>
                <a:latin typeface="+mn-lt"/>
              </a:rPr>
              <a:t> Topics in Software Engineering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bg1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chemeClr val="bg1"/>
                </a:solidFill>
                <a:latin typeface="+mn-lt"/>
              </a:rPr>
              <a:t> München</a:t>
            </a:r>
            <a:endParaRPr lang="de-DE" sz="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Titel + großes Bild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_leer" preserve="1" userDrawn="1">
  <p:cSld name="Inhalt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white">
          <a:xfrm>
            <a:off x="323850" y="4854985"/>
            <a:ext cx="8499335" cy="273844"/>
          </a:xfrm>
          <a:prstGeom prst="rect">
            <a:avLst/>
          </a:prstGeom>
          <a:noFill/>
        </p:spPr>
        <p:txBody>
          <a:bodyPr vert="horz" wrap="square" lIns="0" tIns="45720" rIns="0" bIns="4572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100" b="0" i="0" u="none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3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14000"/>
              </a:lnSpc>
              <a:defRPr lang="de-DE" sz="1800" noProof="0" dirty="0" smtClean="0"/>
            </a:lvl1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1 Inhalt" preserve="1" userDrawn="1">
  <p:cSld name="1_Inhalt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0" y="2032003"/>
            <a:ext cx="8499335" cy="252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 bwMode="white">
          <a:xfrm>
            <a:off x="323850" y="4854985"/>
            <a:ext cx="8499335" cy="273844"/>
          </a:xfrm>
          <a:prstGeom prst="rect">
            <a:avLst/>
          </a:prstGeom>
          <a:noFill/>
        </p:spPr>
        <p:txBody>
          <a:bodyPr vert="horz" wrap="square" lIns="0" tIns="45720" rIns="0" bIns="4572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100" b="0" i="0" u="none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3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14000"/>
              </a:lnSpc>
              <a:defRPr lang="de-DE" sz="1800" noProof="0" dirty="0" smtClean="0"/>
            </a:lvl1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63320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2 Inhalte" preserve="1" userDrawn="1">
  <p:cSld name="zwei Inhalte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>
          <a:noFill/>
        </p:spPr>
        <p:txBody>
          <a:bodyPr/>
          <a:lstStyle/>
          <a:p>
            <a:r>
              <a:rPr lang="de-DE" noProof="0" dirty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23850" y="2032003"/>
            <a:ext cx="4180910" cy="2519360"/>
          </a:xfrm>
          <a:prstGeom prst="rect">
            <a:avLst/>
          </a:prstGeom>
          <a:noFill/>
        </p:spPr>
        <p:txBody>
          <a:bodyPr lIns="0" rIns="0">
            <a:noAutofit/>
          </a:bodyPr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3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14000"/>
              </a:lnSpc>
              <a:defRPr lang="de-DE" sz="1800" noProof="0" dirty="0" smtClean="0"/>
            </a:lvl1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9"/>
          </p:nvPr>
        </p:nvSpPr>
        <p:spPr>
          <a:xfrm>
            <a:off x="4639240" y="2032003"/>
            <a:ext cx="4180910" cy="2519360"/>
          </a:xfrm>
          <a:prstGeom prst="rect">
            <a:avLst/>
          </a:prstGeom>
          <a:noFill/>
        </p:spPr>
        <p:txBody>
          <a:bodyPr lIns="0" rIns="0">
            <a:noAutofit/>
          </a:bodyPr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8296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1 Inhalt + Bild" preserve="1" userDrawn="1">
  <p:cSld name="1_Zwei Inhalte + Text_Bild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>
          <a:noFill/>
        </p:spPr>
        <p:txBody>
          <a:bodyPr/>
          <a:lstStyle/>
          <a:p>
            <a:r>
              <a:rPr lang="de-DE" noProof="0" dirty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23850" y="2032002"/>
            <a:ext cx="4180910" cy="2519361"/>
          </a:xfrm>
          <a:prstGeom prst="rect">
            <a:avLst/>
          </a:prstGeom>
          <a:noFill/>
        </p:spPr>
        <p:txBody>
          <a:bodyPr lIns="0" rIns="0">
            <a:noAutofit/>
          </a:bodyPr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2793" y="2032002"/>
            <a:ext cx="4180392" cy="2519361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3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14000"/>
              </a:lnSpc>
              <a:defRPr lang="de-DE" sz="1800" noProof="0" dirty="0" smtClean="0"/>
            </a:lvl1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323849" y="4551363"/>
            <a:ext cx="8496302" cy="144463"/>
          </a:xfrm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70074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1 Inhalt + Bild (Hintergrund)" preserve="1" userDrawn="1">
  <p:cSld name="Zwei Inhalte + Text_Bild (Hintergrund)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032003"/>
            <a:ext cx="9144000" cy="30968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>
          <a:noFill/>
        </p:spPr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23850" y="2032003"/>
            <a:ext cx="4180910" cy="2519360"/>
          </a:xfrm>
          <a:prstGeom prst="rect">
            <a:avLst/>
          </a:prstGeom>
          <a:noFill/>
        </p:spPr>
        <p:txBody>
          <a:bodyPr lIns="0" rIns="0">
            <a:noAutofit/>
          </a:bodyPr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774935" y="4854985"/>
            <a:ext cx="2052074" cy="273844"/>
          </a:xfrm>
          <a:prstGeom prst="rect">
            <a:avLst/>
          </a:prstGeom>
          <a:noFill/>
        </p:spPr>
        <p:txBody>
          <a:bodyPr vert="horz" wrap="square" lIns="0" tIns="45720" rIns="0" bIns="4572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F888574-F70E-4169-AA28-5EB64BD888DE}" type="slidenum">
              <a:rPr lang="de-DE" sz="1100" b="0" i="0" u="none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marL="0" lv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sz="1100" b="0" i="0" u="none" dirty="0" err="1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38032" y="2032003"/>
            <a:ext cx="4180392" cy="251936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4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800" b="0" i="0" u="none" noProof="0" dirty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53034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großes Bild" preserve="1" userDrawn="1">
  <p:cSld name="große Bilder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>
          <a:noFill/>
        </p:spPr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037655"/>
            <a:ext cx="9144000" cy="3091174"/>
          </a:xfrm>
          <a:prstGeom prst="rect">
            <a:avLst/>
          </a:prstGeom>
          <a:noFill/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4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800" b="0" i="0" u="none" noProof="0" dirty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90635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ontakt" preserve="1" userDrawn="1">
  <p:cSld name="Kontakt te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Kontak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23850" y="1600200"/>
            <a:ext cx="8496300" cy="3095625"/>
          </a:xfrm>
        </p:spPr>
        <p:txBody>
          <a:bodyPr anchor="b">
            <a:normAutofit/>
          </a:bodyPr>
          <a:lstStyle>
            <a:lvl1pPr>
              <a:defRPr sz="1100"/>
            </a:lvl1pPr>
          </a:lstStyle>
          <a:p>
            <a:pPr lvl="0"/>
            <a:r>
              <a:rPr lang="en-US" dirty="0" err="1"/>
              <a:t>Kontaktda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47841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großes Bild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0257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 2" preserve="1" userDrawn="1">
  <p:cSld name="Start_Lehrstuhl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4" name="Textfeld 10"/>
          <p:cNvSpPr txBox="1"/>
          <p:nvPr userDrawn="1"/>
        </p:nvSpPr>
        <p:spPr>
          <a:xfrm>
            <a:off x="323850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rgbClr val="0065BD"/>
                </a:solidFill>
                <a:latin typeface="+mn-lt"/>
              </a:rPr>
              <a:t> München</a:t>
            </a:r>
            <a:endParaRPr lang="de-DE" sz="800" dirty="0">
              <a:solidFill>
                <a:srgbClr val="0065BD"/>
              </a:solidFill>
              <a:latin typeface="+mn-lt"/>
            </a:endParaRPr>
          </a:p>
        </p:txBody>
      </p:sp>
      <p:pic>
        <p:nvPicPr>
          <p:cNvPr id="5" name="Bild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23850" y="1600200"/>
            <a:ext cx="849933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</p:spTree>
    <p:extLst>
      <p:ext uri="{BB962C8B-B14F-4D97-AF65-F5344CB8AC3E}">
        <p14:creationId xmlns:p14="http://schemas.microsoft.com/office/powerpoint/2010/main" val="14109736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 3" preserve="1" userDrawn="1">
  <p:cSld name="Start_Skiz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4666" y="1476375"/>
            <a:ext cx="3820917" cy="3333750"/>
          </a:xfrm>
          <a:prstGeom prst="rect">
            <a:avLst/>
          </a:prstGeom>
        </p:spPr>
      </p:pic>
      <p:pic>
        <p:nvPicPr>
          <p:cNvPr id="4" name="Bild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9" name="Inhaltsplatzhalter 2"/>
          <p:cNvSpPr>
            <a:spLocks noGrp="1"/>
          </p:cNvSpPr>
          <p:nvPr>
            <p:ph idx="10" hasCustomPrompt="1"/>
          </p:nvPr>
        </p:nvSpPr>
        <p:spPr>
          <a:xfrm>
            <a:off x="323850" y="1600200"/>
            <a:ext cx="849933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6" name="Textfeld 10"/>
          <p:cNvSpPr txBox="1"/>
          <p:nvPr userDrawn="1"/>
        </p:nvSpPr>
        <p:spPr>
          <a:xfrm>
            <a:off x="323850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rgbClr val="0065BD"/>
                </a:solidFill>
                <a:latin typeface="+mn-lt"/>
              </a:rPr>
              <a:t> München</a:t>
            </a:r>
            <a:endParaRPr lang="de-DE" sz="800" dirty="0">
              <a:solidFill>
                <a:srgbClr val="0065BD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210622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Kapiteltrenner blau" preserve="1" userDrawn="1">
  <p:cSld name="Kapiteltrenner_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pic>
        <p:nvPicPr>
          <p:cNvPr id="7" name="Bild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4463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</p:spTree>
    <p:extLst>
      <p:ext uri="{BB962C8B-B14F-4D97-AF65-F5344CB8AC3E}">
        <p14:creationId xmlns:p14="http://schemas.microsoft.com/office/powerpoint/2010/main" val="2601873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Kapiteltrenner schwarz" preserve="1" userDrawn="1">
  <p:cSld name="Kapiteltrenner_schwarz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6"/>
          <p:cNvSpPr/>
          <p:nvPr userDrawn="1"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7" name="Bild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446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</p:spTree>
    <p:extLst>
      <p:ext uri="{BB962C8B-B14F-4D97-AF65-F5344CB8AC3E}">
        <p14:creationId xmlns:p14="http://schemas.microsoft.com/office/powerpoint/2010/main" val="3672040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Titel_leer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>
          <a:xfrm>
            <a:off x="323850" y="4854985"/>
            <a:ext cx="8499335" cy="273844"/>
          </a:xfrm>
          <a:prstGeom prst="rect">
            <a:avLst/>
          </a:prstGeom>
        </p:spPr>
        <p:txBody>
          <a:bodyPr vert="horz" wrap="square" lIns="0" tIns="45720" rIns="0" bIns="4572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100" b="0" i="0" u="none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Group 6-6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4551363"/>
            <a:ext cx="8496302" cy="144463"/>
          </a:xfrm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Titel + 1 Inhalt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0" y="1600200"/>
            <a:ext cx="8499335" cy="295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>
          <a:xfrm>
            <a:off x="323850" y="4854985"/>
            <a:ext cx="8499335" cy="273844"/>
          </a:xfrm>
          <a:prstGeom prst="rect">
            <a:avLst/>
          </a:prstGeom>
        </p:spPr>
        <p:txBody>
          <a:bodyPr vert="horz" wrap="square" lIns="0" tIns="45720" rIns="0" bIns="4572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100" b="0" i="0" u="none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4551363"/>
            <a:ext cx="8496302" cy="144463"/>
          </a:xfrm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1587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Titel + 2 Inhalte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23850" y="1600201"/>
            <a:ext cx="4180910" cy="295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2275" y="1600201"/>
            <a:ext cx="4180910" cy="295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323849" y="4551363"/>
            <a:ext cx="8496302" cy="144463"/>
          </a:xfrm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Titel + 1 Inhalt + Bild" preserve="1" userDrawn="1">
  <p:cSld name="Zwei Inhalte + Text_Bild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23850" y="1600200"/>
            <a:ext cx="4180910" cy="2951163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2793" y="1600200"/>
            <a:ext cx="4180392" cy="29511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323849" y="4551363"/>
            <a:ext cx="8496302" cy="144463"/>
          </a:xfrm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/>
              <a:t>[</a:t>
            </a:r>
            <a:r>
              <a:rPr lang="en-US" dirty="0" err="1"/>
              <a:t>Quelle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34660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23850" y="4854985"/>
            <a:ext cx="8499335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Group 6-6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6774935" y="4854985"/>
            <a:ext cx="2052074" cy="273844"/>
          </a:xfrm>
          <a:prstGeom prst="rect">
            <a:avLst/>
          </a:prstGeom>
          <a:noFill/>
        </p:spPr>
        <p:txBody>
          <a:bodyPr vert="horz" wrap="square" lIns="0" tIns="45720" rIns="0" bIns="4572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F888574-F70E-4169-AA28-5EB64BD888DE}" type="slidenum">
              <a:rPr lang="de-DE" sz="1100" b="0" i="0" u="none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marL="0" lv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sz="1100" b="0" i="0" u="none" dirty="0" err="1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23851" y="950913"/>
            <a:ext cx="8496300" cy="4103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 err="1"/>
              <a:t>Titel</a:t>
            </a:r>
            <a:endParaRPr lang="de-D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323851" y="1600201"/>
            <a:ext cx="8503158" cy="30956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7" name="Textfeld 10"/>
          <p:cNvSpPr txBox="1"/>
          <p:nvPr userDrawn="1"/>
        </p:nvSpPr>
        <p:spPr>
          <a:xfrm>
            <a:off x="323850" y="321468"/>
            <a:ext cx="7160425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 err="1">
                <a:solidFill>
                  <a:srgbClr val="0065BD"/>
                </a:solidFill>
                <a:latin typeface="+mn-lt"/>
              </a:rPr>
              <a:t>Advanced</a:t>
            </a:r>
            <a:r>
              <a:rPr lang="de-DE" sz="800" dirty="0">
                <a:solidFill>
                  <a:srgbClr val="0065BD"/>
                </a:solidFill>
                <a:latin typeface="+mn-lt"/>
              </a:rPr>
              <a:t> Topics in Software Engineering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rgbClr val="0065BD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rgbClr val="0065BD"/>
                </a:solidFill>
                <a:latin typeface="+mn-lt"/>
              </a:rPr>
              <a:t> München</a:t>
            </a:r>
            <a:endParaRPr lang="de-DE" sz="800" dirty="0">
              <a:solidFill>
                <a:srgbClr val="0065BD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12" r:id="rId2"/>
    <p:sldLayoutId id="2147483713" r:id="rId3"/>
    <p:sldLayoutId id="2147483714" r:id="rId4"/>
    <p:sldLayoutId id="2147483715" r:id="rId5"/>
    <p:sldLayoutId id="2147483654" r:id="rId6"/>
    <p:sldLayoutId id="2147483726" r:id="rId7"/>
    <p:sldLayoutId id="2147483657" r:id="rId8"/>
    <p:sldLayoutId id="2147483718" r:id="rId9"/>
    <p:sldLayoutId id="2147483656" r:id="rId10"/>
    <p:sldLayoutId id="2147483704" r:id="rId11"/>
    <p:sldLayoutId id="2147483727" r:id="rId12"/>
    <p:sldLayoutId id="2147483717" r:id="rId13"/>
    <p:sldLayoutId id="2147483728" r:id="rId14"/>
    <p:sldLayoutId id="2147483720" r:id="rId15"/>
    <p:sldLayoutId id="2147483721" r:id="rId16"/>
    <p:sldLayoutId id="2147483725" r:id="rId17"/>
    <p:sldLayoutId id="2147483729" r:id="rId18"/>
  </p:sldLayoutIdLst>
  <p:hf hdr="0" dt="0"/>
  <p:txStyles>
    <p:titleStyle>
      <a:lvl1pPr marL="0" indent="0" algn="l" rtl="0" eaLnBrk="1" fontAlgn="base" hangingPunct="1">
        <a:lnSpc>
          <a:spcPts val="3200"/>
        </a:lnSpc>
        <a:spcBef>
          <a:spcPct val="0"/>
        </a:spcBef>
        <a:spcAft>
          <a:spcPct val="0"/>
        </a:spcAft>
        <a:defRPr sz="2500" b="0" i="0" u="none" kern="1200">
          <a:solidFill>
            <a:schemeClr val="tx1">
              <a:lumMod val="100000"/>
            </a:schemeClr>
          </a:solidFill>
          <a:latin typeface="Arial" panose="020B060402020202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04" userDrawn="1">
          <p15:clr>
            <a:srgbClr val="F26B43"/>
          </p15:clr>
        </p15:guide>
        <p15:guide id="2" orient="horz" pos="1008" userDrawn="1">
          <p15:clr>
            <a:srgbClr val="F26B43"/>
          </p15:clr>
        </p15:guide>
        <p15:guide id="3" pos="5556" userDrawn="1">
          <p15:clr>
            <a:srgbClr val="F26B43"/>
          </p15:clr>
        </p15:guide>
        <p15:guide id="4" orient="horz" pos="2958" userDrawn="1">
          <p15:clr>
            <a:srgbClr val="F26B43"/>
          </p15:clr>
        </p15:guide>
        <p15:guide id="5" orient="horz" pos="599" userDrawn="1">
          <p15:clr>
            <a:srgbClr val="F26B43"/>
          </p15:clr>
        </p15:guide>
        <p15:guide id="6" orient="horz" pos="1280" userDrawn="1">
          <p15:clr>
            <a:srgbClr val="F26B43"/>
          </p15:clr>
        </p15:guide>
        <p15:guide id="7" orient="horz" pos="2867" userDrawn="1">
          <p15:clr>
            <a:srgbClr val="F26B43"/>
          </p15:clr>
        </p15:guide>
        <p15:guide id="8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ropbox.com/s/yvz4hxicxolh8hz/android_demo.mp4?dl=0" TargetMode="External"/><Relationship Id="rId2" Type="http://schemas.openxmlformats.org/officeDocument/2006/relationships/hyperlink" Target="https://www.dropbox.com/s/jl2ouxzb63lhjzm/proj_demo.mp4?dl=0" TargetMode="Externa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www.dropbox.com/s/no3nzhvpsuml91b/web_demo.avi?dl=0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7.xml"/><Relationship Id="rId7" Type="http://schemas.openxmlformats.org/officeDocument/2006/relationships/image" Target="../media/image8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7.png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8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tags" Target="../tags/tag21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10" Type="http://schemas.openxmlformats.org/officeDocument/2006/relationships/image" Target="../media/image13.png"/><Relationship Id="rId4" Type="http://schemas.openxmlformats.org/officeDocument/2006/relationships/tags" Target="../tags/tag22.xml"/><Relationship Id="rId9" Type="http://schemas.openxmlformats.org/officeDocument/2006/relationships/image" Target="../media/image12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DF1736-59E1-44DC-B9B4-6FA8B6B5D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950913"/>
            <a:ext cx="8496299" cy="380810"/>
          </a:xfrm>
        </p:spPr>
        <p:txBody>
          <a:bodyPr/>
          <a:lstStyle/>
          <a:p>
            <a:r>
              <a:rPr lang="en-US" dirty="0"/>
              <a:t>Final presentation of project wor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2D9AFBC-8066-4677-BC61-B93E267B632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23850" y="1600200"/>
            <a:ext cx="8496299" cy="323165"/>
          </a:xfrm>
        </p:spPr>
        <p:txBody>
          <a:bodyPr/>
          <a:lstStyle/>
          <a:p>
            <a:r>
              <a:rPr lang="en-US" dirty="0"/>
              <a:t>24</a:t>
            </a:r>
            <a:r>
              <a:rPr lang="en-US" baseline="30000" dirty="0"/>
              <a:t>th</a:t>
            </a:r>
            <a:r>
              <a:rPr lang="en-US" dirty="0"/>
              <a:t> of January 2018</a:t>
            </a:r>
          </a:p>
        </p:txBody>
      </p:sp>
    </p:spTree>
    <p:extLst>
      <p:ext uri="{BB962C8B-B14F-4D97-AF65-F5344CB8AC3E}">
        <p14:creationId xmlns:p14="http://schemas.microsoft.com/office/powerpoint/2010/main" val="29578193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A7DDDF-2023-4C5F-A256-C41A5D32D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Level Architectur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6E51C1D-69D0-4000-93E0-12A7791975D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8151DA2-84C4-4202-BEC8-D6DDC4B48C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2829" y="1767100"/>
            <a:ext cx="3381375" cy="220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7652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A5B69E-0844-463F-B199-8DA02B83A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loyment Diagra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4ED48E-41B6-449D-A90C-0BF8DA70C7A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225C218-E590-4328-B77C-B6F654B2C6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9899" y="1383203"/>
            <a:ext cx="5893666" cy="3481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4635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D97602-A0A2-4BE6-BC9A-B1D906A88D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380810"/>
          </a:xfrm>
        </p:spPr>
        <p:txBody>
          <a:bodyPr/>
          <a:lstStyle/>
          <a:p>
            <a:r>
              <a:rPr lang="en-US" dirty="0"/>
              <a:t>Use Case Diagram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23ACE49-E4A0-4A13-8E40-ECB2902A9EB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C5AD3F4-5C23-4A39-9F69-77342C1BBC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6640" y="1493979"/>
            <a:ext cx="5633753" cy="319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3978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821720-C3D9-4512-99D5-0ED4CA181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dirty="0"/>
              <a:t>Lessons Learned &amp; Tradeoff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8A63350-B053-420A-B5D1-DE280E2C852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1874C273-0E35-4989-B399-8B872D041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6260013"/>
              </p:ext>
            </p:extLst>
          </p:nvPr>
        </p:nvGraphicFramePr>
        <p:xfrm>
          <a:off x="323847" y="1600200"/>
          <a:ext cx="8396959" cy="785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969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 err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sson</a:t>
                      </a:r>
                      <a:r>
                        <a:rPr lang="de-DE" sz="1100" b="1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1" dirty="0" err="1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rned</a:t>
                      </a:r>
                      <a:endParaRPr lang="de-DE" sz="11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algn="l"/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tter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tribution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sks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e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thub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s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ared</a:t>
                      </a: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laboration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64364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C45FA2-1C4E-4B77-BCF5-7440F42C7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Work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2C88E9-63F8-44A9-8840-7A265766F6D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64BE05D-C449-49EA-9E35-C39B970F92F5}"/>
              </a:ext>
            </a:extLst>
          </p:cNvPr>
          <p:cNvSpPr txBox="1"/>
          <p:nvPr/>
        </p:nvSpPr>
        <p:spPr>
          <a:xfrm>
            <a:off x="323849" y="1677660"/>
            <a:ext cx="8343901" cy="8421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We completed all basic features and some optimization on the code was conducted. </a:t>
            </a:r>
          </a:p>
          <a:p>
            <a:pPr>
              <a:lnSpc>
                <a:spcPct val="114000"/>
              </a:lnSpc>
            </a:pPr>
            <a:endParaRPr lang="en-US" sz="16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The attendance system is ready to use for next years classes…</a:t>
            </a:r>
          </a:p>
        </p:txBody>
      </p:sp>
    </p:spTree>
    <p:extLst>
      <p:ext uri="{BB962C8B-B14F-4D97-AF65-F5344CB8AC3E}">
        <p14:creationId xmlns:p14="http://schemas.microsoft.com/office/powerpoint/2010/main" val="41424790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87A6FF-F2BF-47A3-93AE-6328FD2AE5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Tea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826E9A-515A-4913-B261-8284E8B30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cxnSp>
        <p:nvCxnSpPr>
          <p:cNvPr id="7" name="AutoShape 3">
            <a:extLst>
              <a:ext uri="{FF2B5EF4-FFF2-40B4-BE49-F238E27FC236}">
                <a16:creationId xmlns:a16="http://schemas.microsoft.com/office/drawing/2014/main" id="{88C2B968-8E7E-4FD1-9A29-3348B5978078}"/>
              </a:ext>
            </a:extLst>
          </p:cNvPr>
          <p:cNvCxnSpPr>
            <a:cxnSpLocks noChangeShapeType="1"/>
            <a:stCxn id="10" idx="2"/>
            <a:endCxn id="11" idx="0"/>
          </p:cNvCxnSpPr>
          <p:nvPr>
            <p:custDataLst>
              <p:tags r:id="rId1"/>
            </p:custDataLst>
          </p:nvPr>
        </p:nvCxnSpPr>
        <p:spPr bwMode="auto">
          <a:xfrm rot="5400000">
            <a:off x="2692514" y="596817"/>
            <a:ext cx="338864" cy="339265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65BD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AutoShape 4">
            <a:extLst>
              <a:ext uri="{FF2B5EF4-FFF2-40B4-BE49-F238E27FC236}">
                <a16:creationId xmlns:a16="http://schemas.microsoft.com/office/drawing/2014/main" id="{9300C394-5246-40B4-8B04-867E6DE90A56}"/>
              </a:ext>
            </a:extLst>
          </p:cNvPr>
          <p:cNvCxnSpPr>
            <a:cxnSpLocks noChangeShapeType="1"/>
            <a:stCxn id="10" idx="2"/>
          </p:cNvCxnSpPr>
          <p:nvPr>
            <p:custDataLst>
              <p:tags r:id="rId2"/>
            </p:custDataLst>
          </p:nvPr>
        </p:nvCxnSpPr>
        <p:spPr bwMode="auto">
          <a:xfrm>
            <a:off x="4558273" y="2123711"/>
            <a:ext cx="808" cy="339914"/>
          </a:xfrm>
          <a:prstGeom prst="straightConnector1">
            <a:avLst/>
          </a:prstGeom>
          <a:noFill/>
          <a:ln w="9525">
            <a:solidFill>
              <a:srgbClr val="0065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AutoShape 5">
            <a:extLst>
              <a:ext uri="{FF2B5EF4-FFF2-40B4-BE49-F238E27FC236}">
                <a16:creationId xmlns:a16="http://schemas.microsoft.com/office/drawing/2014/main" id="{515CBCFD-050E-476A-8177-E04BB8AAC4AB}"/>
              </a:ext>
            </a:extLst>
          </p:cNvPr>
          <p:cNvCxnSpPr>
            <a:cxnSpLocks noChangeShapeType="1"/>
            <a:stCxn id="10" idx="2"/>
          </p:cNvCxnSpPr>
          <p:nvPr>
            <p:custDataLst>
              <p:tags r:id="rId3"/>
            </p:custDataLst>
          </p:nvPr>
        </p:nvCxnSpPr>
        <p:spPr bwMode="auto">
          <a:xfrm rot="16200000" flipH="1">
            <a:off x="5984805" y="697179"/>
            <a:ext cx="339914" cy="319297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065BD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996231F6-60A1-47A9-A088-7EC1A0A7A35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485336" y="1600202"/>
            <a:ext cx="2145872" cy="523509"/>
          </a:xfrm>
          <a:prstGeom prst="rect">
            <a:avLst/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Team </a:t>
            </a:r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number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: 6-6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4166B2C-5889-4BB7-8D9E-9E4A79AA7B5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23848" y="2462575"/>
            <a:ext cx="1683543" cy="504000"/>
          </a:xfrm>
          <a:prstGeom prst="rect">
            <a:avLst/>
          </a:prstGeom>
          <a:solidFill>
            <a:srgbClr val="FFFFFF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en-US" sz="1200" dirty="0"/>
              <a:t>Kadir </a:t>
            </a:r>
            <a:r>
              <a:rPr lang="en-US" sz="1200" dirty="0" err="1"/>
              <a:t>Tandogan</a:t>
            </a:r>
            <a:r>
              <a:rPr lang="en-US" sz="1200" dirty="0"/>
              <a:t> </a:t>
            </a:r>
            <a:r>
              <a:rPr lang="en-US" sz="1200" dirty="0" err="1"/>
              <a:t>Tilki</a:t>
            </a:r>
            <a:endParaRPr lang="de-DE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58879CA-21AC-44FC-8AB8-4D1094BE26D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082049" y="2462575"/>
            <a:ext cx="1584000" cy="504000"/>
          </a:xfrm>
          <a:prstGeom prst="rect">
            <a:avLst/>
          </a:prstGeom>
          <a:solidFill>
            <a:srgbClr val="FFFFFF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en-US" sz="1200" dirty="0"/>
              <a:t>Thomas </a:t>
            </a:r>
            <a:r>
              <a:rPr lang="en-US" sz="1200" dirty="0" err="1"/>
              <a:t>Bachmaier</a:t>
            </a:r>
            <a:endParaRPr lang="de-DE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560CE92-E186-44DB-87A5-2405E2FD546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740707" y="2462575"/>
            <a:ext cx="1584000" cy="504000"/>
          </a:xfrm>
          <a:prstGeom prst="rect">
            <a:avLst/>
          </a:prstGeom>
          <a:solidFill>
            <a:srgbClr val="FFFFFF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en-US" sz="1200" dirty="0"/>
              <a:t>Fabian </a:t>
            </a:r>
            <a:r>
              <a:rPr lang="en-US" sz="1200" dirty="0" err="1"/>
              <a:t>Helfert</a:t>
            </a:r>
            <a:endParaRPr lang="de-DE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EF2D94A-34ED-448B-A1EC-73ED46370D8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399365" y="2462575"/>
            <a:ext cx="1584000" cy="504000"/>
          </a:xfrm>
          <a:prstGeom prst="rect">
            <a:avLst/>
          </a:prstGeom>
          <a:solidFill>
            <a:srgbClr val="FFFFFF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en-US" sz="1200" dirty="0"/>
              <a:t>Daniela </a:t>
            </a:r>
            <a:r>
              <a:rPr lang="en-US" sz="1200" dirty="0" err="1"/>
              <a:t>Rinscheid</a:t>
            </a:r>
            <a:endParaRPr lang="de-DE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1E22CA6-F7E9-41D1-BA15-AF46D533533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058024" y="2462575"/>
            <a:ext cx="1584000" cy="504000"/>
          </a:xfrm>
          <a:prstGeom prst="rect">
            <a:avLst/>
          </a:prstGeom>
          <a:solidFill>
            <a:srgbClr val="FFFFFF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en-US" sz="1200" dirty="0"/>
              <a:t>Johannes Thanner</a:t>
            </a:r>
            <a:endParaRPr lang="de-DE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27" name="Verbinder: gewinkelt 26">
            <a:extLst>
              <a:ext uri="{FF2B5EF4-FFF2-40B4-BE49-F238E27FC236}">
                <a16:creationId xmlns:a16="http://schemas.microsoft.com/office/drawing/2014/main" id="{729F0908-A018-4510-B795-98ABEDB802E0}"/>
              </a:ext>
            </a:extLst>
          </p:cNvPr>
          <p:cNvCxnSpPr>
            <a:cxnSpLocks/>
            <a:stCxn id="10" idx="2"/>
            <a:endCxn id="15" idx="0"/>
          </p:cNvCxnSpPr>
          <p:nvPr/>
        </p:nvCxnSpPr>
        <p:spPr>
          <a:xfrm rot="5400000">
            <a:off x="3546729" y="1451032"/>
            <a:ext cx="338864" cy="168422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Verbinder: gewinkelt 29">
            <a:extLst>
              <a:ext uri="{FF2B5EF4-FFF2-40B4-BE49-F238E27FC236}">
                <a16:creationId xmlns:a16="http://schemas.microsoft.com/office/drawing/2014/main" id="{F98D0062-C24C-4A22-AA7D-04B92A1518AE}"/>
              </a:ext>
            </a:extLst>
          </p:cNvPr>
          <p:cNvCxnSpPr>
            <a:cxnSpLocks/>
            <a:stCxn id="10" idx="2"/>
            <a:endCxn id="17" idx="0"/>
          </p:cNvCxnSpPr>
          <p:nvPr/>
        </p:nvCxnSpPr>
        <p:spPr>
          <a:xfrm rot="16200000" flipH="1">
            <a:off x="5205386" y="1476596"/>
            <a:ext cx="338864" cy="163309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36854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89BD19-356E-47DB-B158-53F5C5604F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dirty="0"/>
              <a:t>Project Demo Video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DE1FDAF-1EA6-41DE-8F73-20825CA70A6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C1970DA-FA81-41A5-851A-EFB7D162BA37}"/>
              </a:ext>
            </a:extLst>
          </p:cNvPr>
          <p:cNvSpPr txBox="1"/>
          <p:nvPr/>
        </p:nvSpPr>
        <p:spPr>
          <a:xfrm>
            <a:off x="323849" y="1752600"/>
            <a:ext cx="7348037" cy="13000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/>
              <a:t>Whole Project: </a:t>
            </a:r>
            <a:r>
              <a:rPr lang="en-US" sz="1600" dirty="0">
                <a:hlinkClick r:id="rId2"/>
              </a:rPr>
              <a:t>https://www.dropbox.com/s/jl2ouxzb63lhjzm/proj_demo.mp4?dl=0</a:t>
            </a:r>
            <a:endParaRPr lang="en-US" sz="1600" dirty="0"/>
          </a:p>
          <a:p>
            <a:r>
              <a:rPr lang="en-US" sz="1600" dirty="0"/>
              <a:t>Android: </a:t>
            </a:r>
            <a:r>
              <a:rPr lang="en-US" sz="1600" dirty="0">
                <a:hlinkClick r:id="rId3"/>
              </a:rPr>
              <a:t>https://www.dropbox.com/s/yvz4hxicxolh8hz/android_demo.mp4?dl=0</a:t>
            </a:r>
            <a:endParaRPr lang="en-US" sz="1600" dirty="0"/>
          </a:p>
          <a:p>
            <a:r>
              <a:rPr lang="en-US" sz="1600" dirty="0"/>
              <a:t>Web: </a:t>
            </a:r>
            <a:r>
              <a:rPr lang="en-US" sz="1600" dirty="0">
                <a:hlinkClick r:id="rId4"/>
              </a:rPr>
              <a:t>https://www.dropbox.com/s/no3nzhvpsuml91b/web_demo.avi?dl=0</a:t>
            </a:r>
            <a:endParaRPr lang="en-US" sz="1600" dirty="0"/>
          </a:p>
          <a:p>
            <a:pPr>
              <a:lnSpc>
                <a:spcPct val="114000"/>
              </a:lnSpc>
            </a:pPr>
            <a:endParaRPr lang="en-US" sz="16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Step by step explanation via screenshots on the next slides.</a:t>
            </a:r>
          </a:p>
        </p:txBody>
      </p:sp>
    </p:spTree>
    <p:extLst>
      <p:ext uri="{BB962C8B-B14F-4D97-AF65-F5344CB8AC3E}">
        <p14:creationId xmlns:p14="http://schemas.microsoft.com/office/powerpoint/2010/main" val="32279341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D13C5B-75C4-490E-A430-32ACF2D11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68EDD0C-A2C6-49A1-85C4-3A9471B2A08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5F61AFF-CB28-4745-A9BC-C310955EA523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44658" y="1906542"/>
            <a:ext cx="4175491" cy="2644821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rgbClr val="0065BD">
                <a:lumMod val="100000"/>
              </a:srgbClr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C9B0FFD-E745-451F-BE12-E33FE11E2CE1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23848" y="1906542"/>
            <a:ext cx="4175491" cy="2644821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rgbClr val="0065BD">
                <a:lumMod val="100000"/>
              </a:srgbClr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Rechteck 6">
            <a:extLst>
              <a:ext uri="{FF2B5EF4-FFF2-40B4-BE49-F238E27FC236}">
                <a16:creationId xmlns:a16="http://schemas.microsoft.com/office/drawing/2014/main" id="{E5816357-04C3-4E48-BFF8-3385AD83543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644658" y="1600201"/>
            <a:ext cx="4175491" cy="306342"/>
          </a:xfrm>
          <a:prstGeom prst="rect">
            <a:avLst/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Add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attendance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manually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or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use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the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app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(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next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slide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)</a:t>
            </a:r>
          </a:p>
        </p:txBody>
      </p:sp>
      <p:sp>
        <p:nvSpPr>
          <p:cNvPr id="15" name="Rechteck 6">
            <a:extLst>
              <a:ext uri="{FF2B5EF4-FFF2-40B4-BE49-F238E27FC236}">
                <a16:creationId xmlns:a16="http://schemas.microsoft.com/office/drawing/2014/main" id="{D20D054C-9CE1-4E45-A3CF-5FC048E2D33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23848" y="1600201"/>
            <a:ext cx="4175491" cy="306342"/>
          </a:xfrm>
          <a:prstGeom prst="rect">
            <a:avLst/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Register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as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a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new</a:t>
            </a:r>
            <a:r>
              <a:rPr lang="de-DE" sz="13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300" dirty="0" err="1">
                <a:solidFill>
                  <a:srgbClr val="FFFFFF"/>
                </a:solidFill>
                <a:latin typeface="Arial" panose="020B0604020202020204" pitchFamily="34" charset="0"/>
              </a:rPr>
              <a:t>user</a:t>
            </a:r>
            <a:endParaRPr lang="de-DE" sz="13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155BD2B7-E8A7-4F40-800F-B4E3DC35570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55272"/>
          <a:stretch/>
        </p:blipFill>
        <p:spPr>
          <a:xfrm>
            <a:off x="453559" y="2024240"/>
            <a:ext cx="3916067" cy="179229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AB10F006-60A7-4E51-ABB6-596273EA85D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10179"/>
          <a:stretch/>
        </p:blipFill>
        <p:spPr>
          <a:xfrm>
            <a:off x="5330978" y="1986953"/>
            <a:ext cx="2698597" cy="248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3815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D13C5B-75C4-490E-A430-32ACF2D11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(continued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68EDD0C-A2C6-49A1-85C4-3A9471B2A08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5F61AFF-CB28-4745-A9BC-C310955EA523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44658" y="1906542"/>
            <a:ext cx="4175491" cy="2644821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rgbClr val="0065BD">
                <a:lumMod val="100000"/>
              </a:srgbClr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C9B0FFD-E745-451F-BE12-E33FE11E2CE1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23848" y="1906542"/>
            <a:ext cx="4175491" cy="2644821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rgbClr val="0065BD">
                <a:lumMod val="100000"/>
              </a:srgbClr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Rechteck 6">
            <a:extLst>
              <a:ext uri="{FF2B5EF4-FFF2-40B4-BE49-F238E27FC236}">
                <a16:creationId xmlns:a16="http://schemas.microsoft.com/office/drawing/2014/main" id="{E5816357-04C3-4E48-BFF8-3385AD83543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644658" y="1600201"/>
            <a:ext cx="4175491" cy="306342"/>
          </a:xfrm>
          <a:prstGeom prst="rect">
            <a:avLst/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Choosing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 Week and </a:t>
            </a:r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Requesting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 QR Code</a:t>
            </a:r>
          </a:p>
        </p:txBody>
      </p:sp>
      <p:sp>
        <p:nvSpPr>
          <p:cNvPr id="15" name="Rechteck 6">
            <a:extLst>
              <a:ext uri="{FF2B5EF4-FFF2-40B4-BE49-F238E27FC236}">
                <a16:creationId xmlns:a16="http://schemas.microsoft.com/office/drawing/2014/main" id="{D20D054C-9CE1-4E45-A3CF-5FC048E2D33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23848" y="1600201"/>
            <a:ext cx="4175491" cy="306342"/>
          </a:xfrm>
          <a:prstGeom prst="rect">
            <a:avLst/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Logging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 I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B57A523-0118-44C2-9961-FD18F715CB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1113" y="1977472"/>
            <a:ext cx="1405719" cy="2502961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B755D5C4-9A11-4E8F-AB56-6E02983E79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92151" y="1977472"/>
            <a:ext cx="1405718" cy="250296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E9AECC0-4469-4215-A326-959BA1A094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42291" y="1977471"/>
            <a:ext cx="1405719" cy="2502961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A2851C79-8491-4EA4-9771-064C0ABA979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45308" y="1977471"/>
            <a:ext cx="1405719" cy="2502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8496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D13C5B-75C4-490E-A430-32ACF2D11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 (continued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68EDD0C-A2C6-49A1-85C4-3A9471B2A08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D46B480-F507-42F7-A060-E698429EE81C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23848" y="1906542"/>
            <a:ext cx="2738451" cy="2644821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rgbClr val="0065BD">
                <a:lumMod val="100000"/>
              </a:srgbClr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856E9F2-8EC8-4741-BE1D-D93A76D31F8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202772" y="1906542"/>
            <a:ext cx="2738451" cy="2644821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rgbClr val="0065BD">
                <a:lumMod val="100000"/>
              </a:srgbClr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hteck 6">
            <a:extLst>
              <a:ext uri="{FF2B5EF4-FFF2-40B4-BE49-F238E27FC236}">
                <a16:creationId xmlns:a16="http://schemas.microsoft.com/office/drawing/2014/main" id="{684FAF90-2E8B-4E07-8CAE-84AEF27BBA1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23848" y="1600201"/>
            <a:ext cx="2738451" cy="306342"/>
          </a:xfrm>
          <a:prstGeom prst="rect">
            <a:avLst/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Starting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 PI </a:t>
            </a:r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with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 Tutor Code </a:t>
            </a:r>
            <a:r>
              <a:rPr lang="de-DE" sz="1100" dirty="0">
                <a:solidFill>
                  <a:srgbClr val="FFFFFF"/>
                </a:solidFill>
                <a:latin typeface="Arial" panose="020B0604020202020204" pitchFamily="34" charset="0"/>
              </a:rPr>
              <a:t>(0000)</a:t>
            </a:r>
            <a:endParaRPr lang="de-DE" sz="14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hteck 6">
            <a:extLst>
              <a:ext uri="{FF2B5EF4-FFF2-40B4-BE49-F238E27FC236}">
                <a16:creationId xmlns:a16="http://schemas.microsoft.com/office/drawing/2014/main" id="{033535F4-187B-428D-B42A-E5FFCB4F875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081698" y="1600201"/>
            <a:ext cx="2738451" cy="306342"/>
          </a:xfrm>
          <a:prstGeom prst="rect">
            <a:avLst/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Attendance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is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successfully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rgbClr val="FFFFFF"/>
                </a:solidFill>
                <a:latin typeface="Arial" panose="020B0604020202020204" pitchFamily="34" charset="0"/>
              </a:rPr>
              <a:t>taken</a:t>
            </a:r>
            <a:endParaRPr lang="de-DE" sz="14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hteck 6">
            <a:extLst>
              <a:ext uri="{FF2B5EF4-FFF2-40B4-BE49-F238E27FC236}">
                <a16:creationId xmlns:a16="http://schemas.microsoft.com/office/drawing/2014/main" id="{EDF7EB6B-9FCD-4070-AD77-6755160AAD7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202772" y="1600201"/>
            <a:ext cx="2738451" cy="306342"/>
          </a:xfrm>
          <a:prstGeom prst="rect">
            <a:avLst/>
          </a:prstGeom>
          <a:solidFill>
            <a:srgbClr val="0065BD"/>
          </a:solidFill>
          <a:ln w="9525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/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</a:rPr>
              <a:t>Scanning QR Code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8300CBFC-333D-4AE0-B376-92DC15EE2B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7380" y="1977472"/>
            <a:ext cx="1416770" cy="2502961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179D0BC7-4D36-4D48-B247-2F718D3C055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17385" y="1979022"/>
            <a:ext cx="1415893" cy="2501411"/>
          </a:xfrm>
          <a:prstGeom prst="rect">
            <a:avLst/>
          </a:prstGeom>
        </p:spPr>
      </p:pic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B593C8D-6C4B-4EF1-ADB7-6C203D24580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081696" y="1906542"/>
            <a:ext cx="2738451" cy="2644821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rgbClr val="0065BD">
                <a:lumMod val="100000"/>
              </a:srgbClr>
            </a:solidFill>
            <a:prstDash val="solid"/>
          </a:ln>
        </p:spPr>
        <p:txBody>
          <a:bodyPr vert="horz" lIns="67500" tIns="81000" rIns="67500" bIns="27000" rtlCol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82CC3465-C222-4F69-B273-3AFB226FCBA8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33338" b="45070"/>
          <a:stretch/>
        </p:blipFill>
        <p:spPr>
          <a:xfrm>
            <a:off x="6166235" y="2122809"/>
            <a:ext cx="2558665" cy="2157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6972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53DDAC-92D9-4F65-9840-C10E905E3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dirty="0"/>
              <a:t>Completed and Due Featur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FCEC10-EB02-44E6-9CFB-3BF8D165D59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9246386B-75D9-439C-98DE-587F6E0AFA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5617547"/>
              </p:ext>
            </p:extLst>
          </p:nvPr>
        </p:nvGraphicFramePr>
        <p:xfrm>
          <a:off x="217523" y="1409107"/>
          <a:ext cx="8496300" cy="31067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8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734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39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175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Week</a:t>
                      </a:r>
                      <a:endParaRPr lang="de-DE" sz="11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Task</a:t>
                      </a:r>
                      <a:endParaRPr lang="de-DE" sz="11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Status</a:t>
                      </a:r>
                      <a:endParaRPr kumimoji="0" lang="de-DE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algn="ctr"/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 </a:t>
                      </a:r>
                      <a:r>
                        <a:rPr lang="de-DE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p</a:t>
                      </a: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GitHub</a:t>
                      </a: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Done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9144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eb app</a:t>
                      </a:r>
                    </a:p>
                    <a:p>
                      <a:pPr lvl="1" algn="l" defTabSz="9144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r login</a:t>
                      </a:r>
                    </a:p>
                    <a:p>
                      <a:pPr lvl="1" algn="l" defTabSz="9144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eck if registered</a:t>
                      </a:r>
                    </a:p>
                    <a:p>
                      <a:pPr lvl="1" algn="l" defTabSz="9144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gister for tutor group</a:t>
                      </a:r>
                    </a:p>
                    <a:p>
                      <a:pPr lvl="1" algn="l" defTabSz="9144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ow group information</a:t>
                      </a: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Done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REST</a:t>
                      </a:r>
                    </a:p>
                    <a:p>
                      <a:pPr lvl="1"/>
                      <a:r>
                        <a:rPr lang="en-US" sz="1200" dirty="0"/>
                        <a:t>Attendance entry and attendance log</a:t>
                      </a:r>
                    </a:p>
                    <a:p>
                      <a:pPr lvl="1"/>
                      <a:r>
                        <a:rPr lang="en-US" sz="1200" dirty="0"/>
                        <a:t>Check for correct group </a:t>
                      </a:r>
                    </a:p>
                    <a:p>
                      <a:pPr lvl="1"/>
                      <a:r>
                        <a:rPr lang="en-US" sz="1200" dirty="0"/>
                        <a:t>Display all attendances per group</a:t>
                      </a: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Done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algn="ctr"/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QR Code on Raspberry Pi</a:t>
                      </a:r>
                    </a:p>
                    <a:p>
                      <a:pPr lvl="1"/>
                      <a:r>
                        <a:rPr lang="en-US" sz="1200" dirty="0"/>
                        <a:t>Transform attendance string to QR code</a:t>
                      </a:r>
                    </a:p>
                    <a:p>
                      <a:pPr lvl="1"/>
                      <a:r>
                        <a:rPr lang="en-US" sz="1200" dirty="0"/>
                        <a:t>Read and parse QR code per webcam </a:t>
                      </a:r>
                    </a:p>
                    <a:p>
                      <a:pPr lvl="1"/>
                      <a:r>
                        <a:rPr lang="en-US" sz="1200" dirty="0"/>
                        <a:t>Display decoded string</a:t>
                      </a: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Done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57068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53DDAC-92D9-4F65-9840-C10E905E3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dirty="0"/>
              <a:t>Completed and Due Featur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FCEC10-EB02-44E6-9CFB-3BF8D165D59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E7B46093-7F52-4FCC-BFFD-405B17EBEF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9832814"/>
              </p:ext>
            </p:extLst>
          </p:nvPr>
        </p:nvGraphicFramePr>
        <p:xfrm>
          <a:off x="217523" y="1409107"/>
          <a:ext cx="8496300" cy="3470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8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734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39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175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Week</a:t>
                      </a:r>
                      <a:endParaRPr lang="de-DE" sz="11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Task</a:t>
                      </a:r>
                      <a:endParaRPr lang="de-DE" sz="11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Status</a:t>
                      </a:r>
                      <a:endParaRPr kumimoji="0" lang="de-DE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algn="ctr"/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munication between Pi and BE</a:t>
                      </a:r>
                    </a:p>
                    <a:p>
                      <a:pPr marL="457200" lvl="2" algn="l" defTabSz="914400" rtl="0" eaLnBrk="1" latinLnBrk="0" hangingPunct="1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vert attendance record to XML</a:t>
                      </a:r>
                    </a:p>
                    <a:p>
                      <a:pPr marL="457200" lvl="2" algn="l" defTabSz="914400" rtl="0" eaLnBrk="1" latinLnBrk="0" hangingPunct="1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bmit XML via POST request</a:t>
                      </a:r>
                    </a:p>
                    <a:p>
                      <a:pPr marL="457200" lvl="2" algn="l" defTabSz="914400" rtl="0" eaLnBrk="1" latinLnBrk="0" hangingPunct="1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ver should parse and store request in database</a:t>
                      </a:r>
                    </a:p>
                    <a:p>
                      <a:pPr marL="457200" lvl="2" algn="l" defTabSz="914400" rtl="0" eaLnBrk="1" latinLnBrk="0" hangingPunct="1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ow confirmation if success</a:t>
                      </a: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Done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ttendance tokens </a:t>
                      </a:r>
                    </a:p>
                    <a:p>
                      <a:pPr lvl="1"/>
                      <a:r>
                        <a:rPr lang="en-US" sz="1200" dirty="0"/>
                        <a:t>Extend QR creation upon registration</a:t>
                      </a:r>
                    </a:p>
                    <a:p>
                      <a:pPr lvl="1"/>
                      <a:r>
                        <a:rPr lang="en-US" sz="1200" dirty="0"/>
                        <a:t>Implement GET request to deliver token per student and week</a:t>
                      </a:r>
                    </a:p>
                    <a:p>
                      <a:pPr lvl="1"/>
                      <a:r>
                        <a:rPr lang="en-US" sz="1200" dirty="0"/>
                        <a:t>Check for correct token before stored in database otherwise failure message</a:t>
                      </a:r>
                    </a:p>
                    <a:p>
                      <a:pPr lvl="0"/>
                      <a:r>
                        <a:rPr lang="en-US" sz="1200" dirty="0"/>
                        <a:t>Android app</a:t>
                      </a:r>
                    </a:p>
                    <a:p>
                      <a:pPr lvl="1"/>
                      <a:r>
                        <a:rPr lang="en-US" sz="1200" dirty="0"/>
                        <a:t>Login functionality</a:t>
                      </a:r>
                    </a:p>
                    <a:p>
                      <a:pPr lvl="1"/>
                      <a:r>
                        <a:rPr lang="en-US" sz="1200" dirty="0"/>
                        <a:t>Retrieve weekly token and display as QR</a:t>
                      </a:r>
                    </a:p>
                    <a:p>
                      <a:pPr lvl="1"/>
                      <a:r>
                        <a:rPr lang="en-US" sz="1200" dirty="0"/>
                        <a:t>Display attendance history (optional)</a:t>
                      </a: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Done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4000"/>
                        </a:lnSpc>
                      </a:pPr>
                      <a:r>
                        <a:rPr lang="en-US" sz="1200" dirty="0">
                          <a:latin typeface="+mn-lt"/>
                        </a:rPr>
                        <a:t>Authentication </a:t>
                      </a:r>
                    </a:p>
                    <a:p>
                      <a:pPr lvl="1">
                        <a:lnSpc>
                          <a:spcPct val="114000"/>
                        </a:lnSpc>
                      </a:pPr>
                      <a:r>
                        <a:rPr lang="en-US" sz="1200" dirty="0">
                          <a:latin typeface="+mn-lt"/>
                        </a:rPr>
                        <a:t>Authenticate tutors and students</a:t>
                      </a:r>
                    </a:p>
                    <a:p>
                      <a:pPr lvl="1">
                        <a:lnSpc>
                          <a:spcPct val="114000"/>
                        </a:lnSpc>
                      </a:pPr>
                      <a:r>
                        <a:rPr lang="en-US" sz="1200" dirty="0">
                          <a:latin typeface="+mn-lt"/>
                        </a:rPr>
                        <a:t>Handheld checks for credentials </a:t>
                      </a: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Done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41256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53DDAC-92D9-4F65-9840-C10E905E3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dirty="0"/>
              <a:t>Completed and Due Featur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FCEC10-EB02-44E6-9CFB-3BF8D165D59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roup 6-6</a:t>
            </a:r>
            <a:endParaRPr lang="en-US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E7B46093-7F52-4FCC-BFFD-405B17EBEF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3347037"/>
              </p:ext>
            </p:extLst>
          </p:nvPr>
        </p:nvGraphicFramePr>
        <p:xfrm>
          <a:off x="217523" y="1409107"/>
          <a:ext cx="8496300" cy="17682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8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734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39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175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Week</a:t>
                      </a:r>
                      <a:endParaRPr lang="de-DE" sz="11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Task</a:t>
                      </a:r>
                      <a:endParaRPr lang="de-DE" sz="11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Status</a:t>
                      </a:r>
                      <a:endParaRPr kumimoji="0" lang="de-DE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algn="ctr"/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 project recommendations given</a:t>
                      </a:r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Done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  <a:p>
                      <a:r>
                        <a:rPr lang="en-US" sz="1200" dirty="0" err="1"/>
                        <a:t>Hashchain</a:t>
                      </a:r>
                      <a:r>
                        <a:rPr lang="en-US" sz="1200" dirty="0"/>
                        <a:t> based Notary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           Recording attendance</a:t>
                      </a:r>
                    </a:p>
                    <a:p>
                      <a:r>
                        <a:rPr lang="en-US" sz="1200" dirty="0"/>
                        <a:t>           </a:t>
                      </a:r>
                      <a:r>
                        <a:rPr lang="en-US" sz="1200" dirty="0" err="1"/>
                        <a:t>Verfying</a:t>
                      </a:r>
                      <a:r>
                        <a:rPr lang="en-US" sz="1200" dirty="0"/>
                        <a:t> attendance</a:t>
                      </a:r>
                    </a:p>
                    <a:p>
                      <a:endParaRPr lang="en-US" sz="1200" dirty="0"/>
                    </a:p>
                  </a:txBody>
                  <a:tcPr marL="74283" marR="74283" marT="34298" marB="34298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en-US" sz="1100" dirty="0">
                          <a:solidFill>
                            <a:srgbClr val="00B050"/>
                          </a:solidFill>
                        </a:rPr>
                        <a:t>Not necessary </a:t>
                      </a:r>
                      <a:endParaRPr lang="de-DE" sz="11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75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 project recommendations given</a:t>
                      </a: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5A6E"/>
                        </a:buClr>
                        <a:buFont typeface="Wingdings" pitchFamily="2" charset="2"/>
                        <a:buNone/>
                      </a:pPr>
                      <a:r>
                        <a:rPr lang="de-DE" sz="1100" kern="1200" dirty="0" err="1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  <a:endParaRPr lang="de-DE" sz="1100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283" marR="74283" marT="34298" marB="34298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5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53900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94843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ded6938-b83b-4e01-96d2-e843a4ffab1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  <p:tag name="EE4P_TEMPLATEMAST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  <p:tag name="EE4P_SMART_ELEMENT_INVERTED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  <p:tag name="EE4P_TEMPLATEMAST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  <p:tag name="EE4P_TEMPLATEMAST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  <p:tag name="EE4P_TEMPLATEMAST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  <p:tag name="EE4P_TEMPLATEMASTER" val="1"/>
</p:tagLst>
</file>

<file path=ppt/theme/theme1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UM_Praesentation_p_v2_16-9_EE.potx" id="{F67579AE-1A9B-486F-92BE-436F0B51AAB1}" vid="{D846A105-E549-42AE-B5A9-9E788E4A93A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2_16-9_EE</Template>
  <TotalTime>0</TotalTime>
  <Words>346</Words>
  <Application>Microsoft Office PowerPoint</Application>
  <PresentationFormat>Bildschirmpräsentation (16:9)</PresentationFormat>
  <Paragraphs>116</Paragraphs>
  <Slides>14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0" baseType="lpstr">
      <vt:lpstr>Arial</vt:lpstr>
      <vt:lpstr>Calibri</vt:lpstr>
      <vt:lpstr>Courier New</vt:lpstr>
      <vt:lpstr>Symbol</vt:lpstr>
      <vt:lpstr>Wingdings</vt:lpstr>
      <vt:lpstr>Inhalt</vt:lpstr>
      <vt:lpstr>Final presentation of project work</vt:lpstr>
      <vt:lpstr>Our Team</vt:lpstr>
      <vt:lpstr>Project Demo Videos</vt:lpstr>
      <vt:lpstr>Demo</vt:lpstr>
      <vt:lpstr>Demo (continued)</vt:lpstr>
      <vt:lpstr>Demo (continued)</vt:lpstr>
      <vt:lpstr>Completed and Due Features</vt:lpstr>
      <vt:lpstr>Completed and Due Features</vt:lpstr>
      <vt:lpstr>Completed and Due Features</vt:lpstr>
      <vt:lpstr>High Level Architecture</vt:lpstr>
      <vt:lpstr>Deployment Diagram</vt:lpstr>
      <vt:lpstr>Use Case Diagram </vt:lpstr>
      <vt:lpstr>Lessons Learned &amp; Tradeoff</vt:lpstr>
      <vt:lpstr>Future Works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esu</dc:creator>
  <cp:lastModifiedBy>Johannes Thanner</cp:lastModifiedBy>
  <cp:revision>26</cp:revision>
  <cp:lastPrinted>2015-07-30T14:04:45Z</cp:lastPrinted>
  <dcterms:created xsi:type="dcterms:W3CDTF">2016-06-14T15:41:54Z</dcterms:created>
  <dcterms:modified xsi:type="dcterms:W3CDTF">2018-01-24T16:20:06Z</dcterms:modified>
</cp:coreProperties>
</file>